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47" r:id="rId2"/>
    <p:sldId id="348" r:id="rId3"/>
    <p:sldId id="352" r:id="rId4"/>
    <p:sldId id="351" r:id="rId5"/>
    <p:sldId id="350" r:id="rId6"/>
    <p:sldId id="353" r:id="rId7"/>
    <p:sldId id="354" r:id="rId8"/>
    <p:sldId id="35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6D3A"/>
    <a:srgbClr val="FF6600"/>
    <a:srgbClr val="DE0000"/>
    <a:srgbClr val="0000CC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2BC9F-CC43-411B-9F73-EE020F9277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019268-A537-4F26-AF71-C5A78E8F65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236C47-BD6E-4AC7-8ECC-73FC7EC96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95D0F9-45AB-4D4F-9795-2B6B5C0AE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226866-0AC7-4653-BE76-672B6C42A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35326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9F0C00-8B01-43DB-AFFB-4926B9DB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5D4D88-84C2-478B-A1D6-37CD408AAD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B25841-9510-47DB-BB18-B8114E042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E03F55-D727-49F3-950F-0FE8DBB1ED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40203-5C6C-4274-9402-DF943774F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0357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FEF3502-A8EE-45FB-98C2-40B856690E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02B0F5-A2A0-4807-A7BF-B60555B172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12D7D0-A9C6-4709-ADBF-B5C6636DC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9FD77F-15C4-4ADC-9E95-6586428F6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8E4449-87B3-46E0-A8E0-4FEB5E4FF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79731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76C09-21DD-4C10-902F-574D02849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19646C-4CAC-421A-861A-1B82FFE2F3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9AC405-68FF-4554-B88A-6A3656DDB8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BCE17F-FECF-4413-8954-5C376C6BE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39639A-619F-4D73-AD34-49416BD07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5679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F8572-B8A7-4FE3-B024-A975CBACA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A7C7BF-9A87-464E-A2BA-57D04D02E0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F04679-BA19-4541-95B2-52DEFC59B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5208D9-790C-447D-A967-4E60E1952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ADE22D-C1C0-42BE-AA16-10517B843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730917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FC9D26-7A68-4FA1-9C9A-3221B069C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46D52C-76B8-4016-84C6-9250DF57D3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B216B8-CCA5-41EA-816B-86DA0F6AE0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2479A4-4892-466F-B7E3-C551AD2475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3FF8C9-41A2-411F-A2BC-497CEE482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46120D-A27B-4F5F-910B-DD12E692E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4658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1822E-2849-49B3-9C00-57337F3B5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653F73-3A20-407D-B021-D8914C7B1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C24444-4D1B-4534-972E-FF519D763D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90A397-C166-4062-9E1F-79F6F34389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6D8881-0C93-4C6B-B459-4D4A98AF4F3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D3754B3-1D6B-4A7B-8018-35AD538C6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3FA379-F0C4-4352-8ED2-24191899E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470840-9058-42DB-9042-8A51E8F78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4656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45220-3C75-4159-AFE9-15E63A514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01EDAB-22E9-42CC-A907-8B3897D7D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DE67E5-1D19-4748-9A6D-3BE317A1D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7FD5DE-D979-4A1F-8B12-6FCE15A3F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1000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DA2F24F-3891-419A-883D-54C8C2674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9A093B-0369-47B9-A6C6-32D26431F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A0B47A-336A-4F2B-8CE5-1049F8A47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040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C758C-E419-417F-A884-3079F51B3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8208D-9F64-4F31-B0D1-8440F2E4A6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C826E5-4CD8-4CA1-8A7C-53C9AF42A1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4B9947-DB66-4730-98C9-FAB82AE05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DF42ED-20D6-499D-8EB6-298D02CE2A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A7B542-6F7C-4FA3-BE15-3462F97A2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90864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3194C-734F-4D05-B9E0-9973209B4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E26FDC-A7C4-4A63-A597-6BE42B2B0B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F2367D-6D71-48C5-94BC-1D283AF8B1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70D553-E0DA-43DC-B2E0-C824FC142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79DF80-CC21-402E-A6BB-5BC768A43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9C50BC-427F-4963-9830-A91F0702C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5822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9B76406-D223-4015-AD4E-BDCDE604B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9EFD3D-BA6F-4073-9BC7-F1D8E9D87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AF98F6-7A88-4616-B9EE-EF7C864304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51332D-480B-481E-80D1-3B822A1218B7}" type="datetimeFigureOut">
              <a:rPr lang="en-IN" smtClean="0"/>
              <a:t>14-02-2026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C1FA82-654D-43AE-B0B4-8695CB8764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6D8E59-CB85-401E-B0A6-691A0EF72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F01E80-A6AE-4E62-8F6D-85DED6E064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302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368363-3DF4-4729-803C-D6517EABF1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68" y="1613233"/>
            <a:ext cx="7949504" cy="656575"/>
          </a:xfrm>
        </p:spPr>
        <p:txBody>
          <a:bodyPr anchor="ctr">
            <a:noAutofit/>
          </a:bodyPr>
          <a:lstStyle/>
          <a:p>
            <a:pPr marL="406400" indent="-406400" algn="ctr">
              <a:lnSpc>
                <a:spcPct val="150000"/>
              </a:lnSpc>
            </a:pPr>
            <a:r>
              <a:rPr lang="en-US" sz="2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en-US" sz="2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en-US" sz="2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ITLE- Font size 28</a:t>
            </a:r>
            <a:br>
              <a:rPr lang="en-US" sz="2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endParaRPr lang="en-IN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BB176E-403A-4109-BA80-F7E7E647C9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3792" y="2424152"/>
            <a:ext cx="8397381" cy="532342"/>
          </a:xfrm>
        </p:spPr>
        <p:txBody>
          <a:bodyPr>
            <a:normAutofit/>
          </a:bodyPr>
          <a:lstStyle/>
          <a:p>
            <a:r>
              <a:rPr lang="en-IN" sz="2200" b="1" u="sng" dirty="0">
                <a:latin typeface="Times New Roman" panose="02020603050405020304" pitchFamily="18" charset="0"/>
                <a:ea typeface="Yu Gothic" panose="020B0400000000000000" pitchFamily="34" charset="-128"/>
                <a:cs typeface="Times New Roman" panose="02020603050405020304" pitchFamily="18" charset="0"/>
              </a:rPr>
              <a:t>Chaudhary S K *</a:t>
            </a:r>
            <a:r>
              <a:rPr lang="en-IN" b="1" u="sng" baseline="30000" dirty="0">
                <a:latin typeface="Times New Roman" panose="02020603050405020304" pitchFamily="18" charset="0"/>
                <a:ea typeface="Yu Gothic" panose="020B0400000000000000" pitchFamily="34" charset="-128"/>
                <a:cs typeface="Times New Roman" panose="02020603050405020304" pitchFamily="18" charset="0"/>
              </a:rPr>
              <a:t>1</a:t>
            </a:r>
            <a:r>
              <a:rPr lang="en-IN" sz="2200" b="1" dirty="0">
                <a:latin typeface="Times New Roman" panose="02020603050405020304" pitchFamily="18" charset="0"/>
                <a:ea typeface="Yu Gothic" panose="020B0400000000000000" pitchFamily="34" charset="-128"/>
                <a:cs typeface="Times New Roman" panose="02020603050405020304" pitchFamily="18" charset="0"/>
              </a:rPr>
              <a:t>, Shukla J K</a:t>
            </a:r>
            <a:r>
              <a:rPr lang="en-IN" sz="2200" b="1" baseline="30000" dirty="0">
                <a:latin typeface="Times New Roman" panose="02020603050405020304" pitchFamily="18" charset="0"/>
                <a:ea typeface="Yu Gothic" panose="020B0400000000000000" pitchFamily="34" charset="-128"/>
                <a:cs typeface="Times New Roman" panose="02020603050405020304" pitchFamily="18" charset="0"/>
              </a:rPr>
              <a:t>2</a:t>
            </a:r>
            <a:r>
              <a:rPr lang="en-IN" sz="2200" b="1" dirty="0">
                <a:latin typeface="Times New Roman" panose="02020603050405020304" pitchFamily="18" charset="0"/>
                <a:ea typeface="Yu Gothic" panose="020B0400000000000000" pitchFamily="34" charset="-128"/>
                <a:cs typeface="Times New Roman" panose="02020603050405020304" pitchFamily="18" charset="0"/>
              </a:rPr>
              <a:t> – font size 18</a:t>
            </a:r>
          </a:p>
          <a:p>
            <a:endParaRPr lang="en-IN" sz="2200" b="1" dirty="0">
              <a:latin typeface="Times New Roman" panose="02020603050405020304" pitchFamily="18" charset="0"/>
              <a:ea typeface="Yu Gothic" panose="020B0400000000000000" pitchFamily="34" charset="-128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E555FD-1C5B-4DE1-9663-B56E325AE2C8}"/>
              </a:ext>
            </a:extLst>
          </p:cNvPr>
          <p:cNvSpPr txBox="1"/>
          <p:nvPr/>
        </p:nvSpPr>
        <p:spPr>
          <a:xfrm>
            <a:off x="3196789" y="3002995"/>
            <a:ext cx="647905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Affiliation (Font Size –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US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t- </a:t>
            </a: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uld be in sentenced cased) 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Affiliation (Font size –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US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t </a:t>
            </a: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uld be in sentenced cased)</a:t>
            </a:r>
            <a:endParaRPr lang="en-US" b="1" dirty="0">
              <a:solidFill>
                <a:schemeClr val="tx1"/>
              </a:solidFill>
              <a:highlight>
                <a:srgbClr val="FFFF00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C30B378-02DE-F44F-AE70-F50F88F0D056}"/>
              </a:ext>
            </a:extLst>
          </p:cNvPr>
          <p:cNvSpPr>
            <a:spLocks noChangeAspect="1"/>
          </p:cNvSpPr>
          <p:nvPr/>
        </p:nvSpPr>
        <p:spPr>
          <a:xfrm>
            <a:off x="83984" y="578215"/>
            <a:ext cx="1631205" cy="82287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place with your college/ university logo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82147C1-4EDB-4C05-A571-48C24EA29A65}"/>
              </a:ext>
            </a:extLst>
          </p:cNvPr>
          <p:cNvSpPr/>
          <p:nvPr/>
        </p:nvSpPr>
        <p:spPr>
          <a:xfrm>
            <a:off x="4987092" y="649805"/>
            <a:ext cx="2014537" cy="702294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highlight>
                  <a:srgbClr val="008000"/>
                </a:highlight>
              </a:rPr>
              <a:t>Abstract </a:t>
            </a:r>
            <a:r>
              <a:rPr lang="en-US" dirty="0" smtClean="0">
                <a:highlight>
                  <a:srgbClr val="008000"/>
                </a:highlight>
              </a:rPr>
              <a:t>Number</a:t>
            </a:r>
            <a:endParaRPr lang="en-IN" dirty="0">
              <a:highlight>
                <a:srgbClr val="008000"/>
              </a:highlight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360A0AE-960C-49B8-B1FD-10292DDEC952}"/>
              </a:ext>
            </a:extLst>
          </p:cNvPr>
          <p:cNvSpPr/>
          <p:nvPr/>
        </p:nvSpPr>
        <p:spPr>
          <a:xfrm>
            <a:off x="5994361" y="697821"/>
            <a:ext cx="45719" cy="45719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1FEEE2-4698-4DA2-BDCE-F16EC5A42C7B}"/>
              </a:ext>
            </a:extLst>
          </p:cNvPr>
          <p:cNvSpPr/>
          <p:nvPr/>
        </p:nvSpPr>
        <p:spPr>
          <a:xfrm>
            <a:off x="-27856" y="6294251"/>
            <a:ext cx="1213587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ATIONAL CONFERENCE On "Ayurveda &amp; Tribal Healing for Respiratory Health: Bridging Ancient Wisdom with Modern Science</a:t>
            </a:r>
            <a:endParaRPr lang="en-IN" sz="12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141" name="Picture 69" descr="SVKM Logo">
            <a:extLst>
              <a:ext uri="{FF2B5EF4-FFF2-40B4-BE49-F238E27FC236}">
                <a16:creationId xmlns:a16="http://schemas.microsoft.com/office/drawing/2014/main" id="{55251851-5880-43F8-8B4D-AEC0FFCB84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5966" y="485562"/>
            <a:ext cx="1162050" cy="148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58DDC62B-579C-4437-A186-7AE5510E7E2C}"/>
              </a:ext>
            </a:extLst>
          </p:cNvPr>
          <p:cNvGrpSpPr/>
          <p:nvPr/>
        </p:nvGrpSpPr>
        <p:grpSpPr>
          <a:xfrm>
            <a:off x="0" y="389"/>
            <a:ext cx="12192000" cy="322749"/>
            <a:chOff x="0" y="3797032"/>
            <a:chExt cx="12192000" cy="40917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CB81043-3E77-4EDC-960C-494BD07A851E}"/>
                </a:ext>
              </a:extLst>
            </p:cNvPr>
            <p:cNvSpPr/>
            <p:nvPr/>
          </p:nvSpPr>
          <p:spPr>
            <a:xfrm>
              <a:off x="0" y="3937518"/>
              <a:ext cx="12192000" cy="13921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6D8E7DD-033D-49EF-BA2D-2EA04E876454}"/>
                </a:ext>
              </a:extLst>
            </p:cNvPr>
            <p:cNvGrpSpPr/>
            <p:nvPr/>
          </p:nvGrpSpPr>
          <p:grpSpPr>
            <a:xfrm>
              <a:off x="0" y="3797032"/>
              <a:ext cx="12192000" cy="409179"/>
              <a:chOff x="0" y="3797032"/>
              <a:chExt cx="12192000" cy="409179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E9C3464-E51C-48C3-9232-99203D509EC6}"/>
                  </a:ext>
                </a:extLst>
              </p:cNvPr>
              <p:cNvSpPr/>
              <p:nvPr/>
            </p:nvSpPr>
            <p:spPr>
              <a:xfrm>
                <a:off x="0" y="3797032"/>
                <a:ext cx="12192000" cy="12901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470EF2FE-0DC1-4FBD-9C24-B9D33BEF6B1D}"/>
                  </a:ext>
                </a:extLst>
              </p:cNvPr>
              <p:cNvSpPr/>
              <p:nvPr/>
            </p:nvSpPr>
            <p:spPr>
              <a:xfrm>
                <a:off x="0" y="4084219"/>
                <a:ext cx="12192000" cy="121992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4C559DB-5055-48D9-9F12-ACFA17D06AD7}"/>
              </a:ext>
            </a:extLst>
          </p:cNvPr>
          <p:cNvGrpSpPr/>
          <p:nvPr/>
        </p:nvGrpSpPr>
        <p:grpSpPr>
          <a:xfrm>
            <a:off x="0" y="6599941"/>
            <a:ext cx="12202755" cy="258059"/>
            <a:chOff x="0" y="4730620"/>
            <a:chExt cx="11504646" cy="27699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DC69BF4-0C7B-411D-8C3E-E0FBEB20B878}"/>
                </a:ext>
              </a:extLst>
            </p:cNvPr>
            <p:cNvSpPr/>
            <p:nvPr/>
          </p:nvSpPr>
          <p:spPr>
            <a:xfrm>
              <a:off x="0" y="4730620"/>
              <a:ext cx="3834882" cy="27699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8FC9201-D087-4185-8690-8D600A121920}"/>
                </a:ext>
              </a:extLst>
            </p:cNvPr>
            <p:cNvSpPr/>
            <p:nvPr/>
          </p:nvSpPr>
          <p:spPr>
            <a:xfrm>
              <a:off x="3834882" y="4730620"/>
              <a:ext cx="3834882" cy="27699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A9E46DB-4582-4BEE-80A1-4B86BFD11455}"/>
                </a:ext>
              </a:extLst>
            </p:cNvPr>
            <p:cNvSpPr/>
            <p:nvPr/>
          </p:nvSpPr>
          <p:spPr>
            <a:xfrm>
              <a:off x="7669764" y="4730620"/>
              <a:ext cx="3834882" cy="27699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86024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EA8BF1D7-D895-4FD0-8766-9D1122494CDF}"/>
              </a:ext>
            </a:extLst>
          </p:cNvPr>
          <p:cNvGrpSpPr/>
          <p:nvPr/>
        </p:nvGrpSpPr>
        <p:grpSpPr>
          <a:xfrm>
            <a:off x="-27856" y="-18661"/>
            <a:ext cx="12230611" cy="6876661"/>
            <a:chOff x="-27856" y="-18661"/>
            <a:chExt cx="12230611" cy="6876661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91156BC-BA2B-4BCB-AE30-89296F2D8D21}"/>
                </a:ext>
              </a:extLst>
            </p:cNvPr>
            <p:cNvGrpSpPr/>
            <p:nvPr/>
          </p:nvGrpSpPr>
          <p:grpSpPr>
            <a:xfrm>
              <a:off x="0" y="-18661"/>
              <a:ext cx="12192000" cy="447286"/>
              <a:chOff x="0" y="3797032"/>
              <a:chExt cx="12192000" cy="409179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039424A6-E7B0-4662-B60C-3A723EBF24C3}"/>
                  </a:ext>
                </a:extLst>
              </p:cNvPr>
              <p:cNvSpPr/>
              <p:nvPr/>
            </p:nvSpPr>
            <p:spPr>
              <a:xfrm>
                <a:off x="0" y="3937518"/>
                <a:ext cx="12192000" cy="139216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B998C02E-3B64-4FAA-AA96-0589BAB5AEC7}"/>
                  </a:ext>
                </a:extLst>
              </p:cNvPr>
              <p:cNvGrpSpPr/>
              <p:nvPr/>
            </p:nvGrpSpPr>
            <p:grpSpPr>
              <a:xfrm>
                <a:off x="0" y="3797032"/>
                <a:ext cx="12192000" cy="409179"/>
                <a:chOff x="0" y="3797032"/>
                <a:chExt cx="12192000" cy="409179"/>
              </a:xfrm>
            </p:grpSpPr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A9CFF4AE-4943-4004-9AAD-196BC569AE13}"/>
                    </a:ext>
                  </a:extLst>
                </p:cNvPr>
                <p:cNvSpPr/>
                <p:nvPr/>
              </p:nvSpPr>
              <p:spPr>
                <a:xfrm>
                  <a:off x="0" y="3797032"/>
                  <a:ext cx="12192000" cy="129016"/>
                </a:xfrm>
                <a:prstGeom prst="rect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8C55A8BE-8B9C-4FAB-92D6-7E4D1A089EF6}"/>
                    </a:ext>
                  </a:extLst>
                </p:cNvPr>
                <p:cNvSpPr/>
                <p:nvPr/>
              </p:nvSpPr>
              <p:spPr>
                <a:xfrm>
                  <a:off x="0" y="4084219"/>
                  <a:ext cx="12192000" cy="121992"/>
                </a:xfrm>
                <a:prstGeom prst="rect">
                  <a:avLst/>
                </a:prstGeom>
                <a:solidFill>
                  <a:schemeClr val="accent2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</p:grp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E32DE72-4D38-4F28-B508-92890AF8F7C3}"/>
                </a:ext>
              </a:extLst>
            </p:cNvPr>
            <p:cNvSpPr/>
            <p:nvPr/>
          </p:nvSpPr>
          <p:spPr>
            <a:xfrm>
              <a:off x="-27856" y="6294251"/>
              <a:ext cx="1213587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rgbClr val="C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NATIONAL CONFERENCE On "Ayurveda &amp; Tribal Healing for Respiratory Health: Bridging Ancient Wisdom with Modern Science</a:t>
              </a:r>
              <a:endParaRPr lang="en-IN" sz="12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CF56385-AC51-48C1-9A50-66A4E789A840}"/>
                </a:ext>
              </a:extLst>
            </p:cNvPr>
            <p:cNvGrpSpPr/>
            <p:nvPr/>
          </p:nvGrpSpPr>
          <p:grpSpPr>
            <a:xfrm>
              <a:off x="0" y="6599941"/>
              <a:ext cx="12202755" cy="258059"/>
              <a:chOff x="0" y="4730620"/>
              <a:chExt cx="11504646" cy="276999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AD9D98A6-2D1D-439B-930C-67AE14A94C9F}"/>
                  </a:ext>
                </a:extLst>
              </p:cNvPr>
              <p:cNvSpPr/>
              <p:nvPr/>
            </p:nvSpPr>
            <p:spPr>
              <a:xfrm>
                <a:off x="0" y="4730620"/>
                <a:ext cx="3834882" cy="276999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9850C193-C685-4372-9EF7-8E2672796485}"/>
                  </a:ext>
                </a:extLst>
              </p:cNvPr>
              <p:cNvSpPr/>
              <p:nvPr/>
            </p:nvSpPr>
            <p:spPr>
              <a:xfrm>
                <a:off x="3834882" y="4730620"/>
                <a:ext cx="3834882" cy="276999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B3F18149-BC97-4326-8360-442CFE28E7E1}"/>
                  </a:ext>
                </a:extLst>
              </p:cNvPr>
              <p:cNvSpPr/>
              <p:nvPr/>
            </p:nvSpPr>
            <p:spPr>
              <a:xfrm>
                <a:off x="7669764" y="4730620"/>
                <a:ext cx="3834882" cy="276999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8337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91156BC-BA2B-4BCB-AE30-89296F2D8D21}"/>
              </a:ext>
            </a:extLst>
          </p:cNvPr>
          <p:cNvGrpSpPr/>
          <p:nvPr/>
        </p:nvGrpSpPr>
        <p:grpSpPr>
          <a:xfrm>
            <a:off x="0" y="-18661"/>
            <a:ext cx="12192000" cy="447286"/>
            <a:chOff x="0" y="3797032"/>
            <a:chExt cx="12192000" cy="40917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39424A6-E7B0-4662-B60C-3A723EBF24C3}"/>
                </a:ext>
              </a:extLst>
            </p:cNvPr>
            <p:cNvSpPr/>
            <p:nvPr/>
          </p:nvSpPr>
          <p:spPr>
            <a:xfrm>
              <a:off x="0" y="3937518"/>
              <a:ext cx="12192000" cy="13921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998C02E-3B64-4FAA-AA96-0589BAB5AEC7}"/>
                </a:ext>
              </a:extLst>
            </p:cNvPr>
            <p:cNvGrpSpPr/>
            <p:nvPr/>
          </p:nvGrpSpPr>
          <p:grpSpPr>
            <a:xfrm>
              <a:off x="0" y="3797032"/>
              <a:ext cx="12192000" cy="409179"/>
              <a:chOff x="0" y="3797032"/>
              <a:chExt cx="12192000" cy="40917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9CFF4AE-4943-4004-9AAD-196BC569AE13}"/>
                  </a:ext>
                </a:extLst>
              </p:cNvPr>
              <p:cNvSpPr/>
              <p:nvPr/>
            </p:nvSpPr>
            <p:spPr>
              <a:xfrm>
                <a:off x="0" y="3797032"/>
                <a:ext cx="12192000" cy="12901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C55A8BE-8B9C-4FAB-92D6-7E4D1A089EF6}"/>
                  </a:ext>
                </a:extLst>
              </p:cNvPr>
              <p:cNvSpPr/>
              <p:nvPr/>
            </p:nvSpPr>
            <p:spPr>
              <a:xfrm>
                <a:off x="0" y="4084219"/>
                <a:ext cx="12192000" cy="121992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E32DE72-4D38-4F28-B508-92890AF8F7C3}"/>
              </a:ext>
            </a:extLst>
          </p:cNvPr>
          <p:cNvSpPr/>
          <p:nvPr/>
        </p:nvSpPr>
        <p:spPr>
          <a:xfrm>
            <a:off x="-27856" y="6294251"/>
            <a:ext cx="1213587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ATIONAL CONFERENCE On "Ayurveda &amp; Tribal Healing for Respiratory Health: Bridging Ancient Wisdom with Modern Science</a:t>
            </a:r>
            <a:endParaRPr lang="en-IN" sz="12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CF56385-AC51-48C1-9A50-66A4E789A840}"/>
              </a:ext>
            </a:extLst>
          </p:cNvPr>
          <p:cNvGrpSpPr/>
          <p:nvPr/>
        </p:nvGrpSpPr>
        <p:grpSpPr>
          <a:xfrm>
            <a:off x="0" y="6599941"/>
            <a:ext cx="12202755" cy="258059"/>
            <a:chOff x="0" y="4730620"/>
            <a:chExt cx="11504646" cy="27699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D9D98A6-2D1D-439B-930C-67AE14A94C9F}"/>
                </a:ext>
              </a:extLst>
            </p:cNvPr>
            <p:cNvSpPr/>
            <p:nvPr/>
          </p:nvSpPr>
          <p:spPr>
            <a:xfrm>
              <a:off x="0" y="4730620"/>
              <a:ext cx="3834882" cy="27699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850C193-C685-4372-9EF7-8E2672796485}"/>
                </a:ext>
              </a:extLst>
            </p:cNvPr>
            <p:cNvSpPr/>
            <p:nvPr/>
          </p:nvSpPr>
          <p:spPr>
            <a:xfrm>
              <a:off x="3834882" y="4730620"/>
              <a:ext cx="3834882" cy="27699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3F18149-BC97-4326-8360-442CFE28E7E1}"/>
                </a:ext>
              </a:extLst>
            </p:cNvPr>
            <p:cNvSpPr/>
            <p:nvPr/>
          </p:nvSpPr>
          <p:spPr>
            <a:xfrm>
              <a:off x="7669764" y="4730620"/>
              <a:ext cx="3834882" cy="27699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965846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91156BC-BA2B-4BCB-AE30-89296F2D8D21}"/>
              </a:ext>
            </a:extLst>
          </p:cNvPr>
          <p:cNvGrpSpPr/>
          <p:nvPr/>
        </p:nvGrpSpPr>
        <p:grpSpPr>
          <a:xfrm>
            <a:off x="0" y="-18661"/>
            <a:ext cx="12192000" cy="447286"/>
            <a:chOff x="0" y="3797032"/>
            <a:chExt cx="12192000" cy="40917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39424A6-E7B0-4662-B60C-3A723EBF24C3}"/>
                </a:ext>
              </a:extLst>
            </p:cNvPr>
            <p:cNvSpPr/>
            <p:nvPr/>
          </p:nvSpPr>
          <p:spPr>
            <a:xfrm>
              <a:off x="0" y="3937518"/>
              <a:ext cx="12192000" cy="13921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998C02E-3B64-4FAA-AA96-0589BAB5AEC7}"/>
                </a:ext>
              </a:extLst>
            </p:cNvPr>
            <p:cNvGrpSpPr/>
            <p:nvPr/>
          </p:nvGrpSpPr>
          <p:grpSpPr>
            <a:xfrm>
              <a:off x="0" y="3797032"/>
              <a:ext cx="12192000" cy="409179"/>
              <a:chOff x="0" y="3797032"/>
              <a:chExt cx="12192000" cy="40917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9CFF4AE-4943-4004-9AAD-196BC569AE13}"/>
                  </a:ext>
                </a:extLst>
              </p:cNvPr>
              <p:cNvSpPr/>
              <p:nvPr/>
            </p:nvSpPr>
            <p:spPr>
              <a:xfrm>
                <a:off x="0" y="3797032"/>
                <a:ext cx="12192000" cy="12901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C55A8BE-8B9C-4FAB-92D6-7E4D1A089EF6}"/>
                  </a:ext>
                </a:extLst>
              </p:cNvPr>
              <p:cNvSpPr/>
              <p:nvPr/>
            </p:nvSpPr>
            <p:spPr>
              <a:xfrm>
                <a:off x="0" y="4084219"/>
                <a:ext cx="12192000" cy="121992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E32DE72-4D38-4F28-B508-92890AF8F7C3}"/>
              </a:ext>
            </a:extLst>
          </p:cNvPr>
          <p:cNvSpPr/>
          <p:nvPr/>
        </p:nvSpPr>
        <p:spPr>
          <a:xfrm>
            <a:off x="-27856" y="6294251"/>
            <a:ext cx="1213587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ATIONAL CONFERENCE On "Ayurveda &amp; Tribal Healing for Respiratory Health: Bridging Ancient Wisdom with Modern Science</a:t>
            </a:r>
            <a:endParaRPr lang="en-IN" sz="12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CF56385-AC51-48C1-9A50-66A4E789A840}"/>
              </a:ext>
            </a:extLst>
          </p:cNvPr>
          <p:cNvGrpSpPr/>
          <p:nvPr/>
        </p:nvGrpSpPr>
        <p:grpSpPr>
          <a:xfrm>
            <a:off x="0" y="6599941"/>
            <a:ext cx="12202755" cy="258059"/>
            <a:chOff x="0" y="4730620"/>
            <a:chExt cx="11504646" cy="27699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D9D98A6-2D1D-439B-930C-67AE14A94C9F}"/>
                </a:ext>
              </a:extLst>
            </p:cNvPr>
            <p:cNvSpPr/>
            <p:nvPr/>
          </p:nvSpPr>
          <p:spPr>
            <a:xfrm>
              <a:off x="0" y="4730620"/>
              <a:ext cx="3834882" cy="27699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850C193-C685-4372-9EF7-8E2672796485}"/>
                </a:ext>
              </a:extLst>
            </p:cNvPr>
            <p:cNvSpPr/>
            <p:nvPr/>
          </p:nvSpPr>
          <p:spPr>
            <a:xfrm>
              <a:off x="3834882" y="4730620"/>
              <a:ext cx="3834882" cy="27699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3F18149-BC97-4326-8360-442CFE28E7E1}"/>
                </a:ext>
              </a:extLst>
            </p:cNvPr>
            <p:cNvSpPr/>
            <p:nvPr/>
          </p:nvSpPr>
          <p:spPr>
            <a:xfrm>
              <a:off x="7669764" y="4730620"/>
              <a:ext cx="3834882" cy="27699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59340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91156BC-BA2B-4BCB-AE30-89296F2D8D21}"/>
              </a:ext>
            </a:extLst>
          </p:cNvPr>
          <p:cNvGrpSpPr/>
          <p:nvPr/>
        </p:nvGrpSpPr>
        <p:grpSpPr>
          <a:xfrm>
            <a:off x="0" y="-18661"/>
            <a:ext cx="12192000" cy="447286"/>
            <a:chOff x="0" y="3797032"/>
            <a:chExt cx="12192000" cy="40917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39424A6-E7B0-4662-B60C-3A723EBF24C3}"/>
                </a:ext>
              </a:extLst>
            </p:cNvPr>
            <p:cNvSpPr/>
            <p:nvPr/>
          </p:nvSpPr>
          <p:spPr>
            <a:xfrm>
              <a:off x="0" y="3937518"/>
              <a:ext cx="12192000" cy="13921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998C02E-3B64-4FAA-AA96-0589BAB5AEC7}"/>
                </a:ext>
              </a:extLst>
            </p:cNvPr>
            <p:cNvGrpSpPr/>
            <p:nvPr/>
          </p:nvGrpSpPr>
          <p:grpSpPr>
            <a:xfrm>
              <a:off x="0" y="3797032"/>
              <a:ext cx="12192000" cy="409179"/>
              <a:chOff x="0" y="3797032"/>
              <a:chExt cx="12192000" cy="40917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9CFF4AE-4943-4004-9AAD-196BC569AE13}"/>
                  </a:ext>
                </a:extLst>
              </p:cNvPr>
              <p:cNvSpPr/>
              <p:nvPr/>
            </p:nvSpPr>
            <p:spPr>
              <a:xfrm>
                <a:off x="0" y="3797032"/>
                <a:ext cx="12192000" cy="12901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C55A8BE-8B9C-4FAB-92D6-7E4D1A089EF6}"/>
                  </a:ext>
                </a:extLst>
              </p:cNvPr>
              <p:cNvSpPr/>
              <p:nvPr/>
            </p:nvSpPr>
            <p:spPr>
              <a:xfrm>
                <a:off x="0" y="4084219"/>
                <a:ext cx="12192000" cy="121992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E32DE72-4D38-4F28-B508-92890AF8F7C3}"/>
              </a:ext>
            </a:extLst>
          </p:cNvPr>
          <p:cNvSpPr/>
          <p:nvPr/>
        </p:nvSpPr>
        <p:spPr>
          <a:xfrm>
            <a:off x="-27856" y="6294251"/>
            <a:ext cx="1213587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ATIONAL CONFERENCE On "Ayurveda &amp; Tribal Healing for Respiratory Health: Bridging Ancient Wisdom with Modern Science</a:t>
            </a:r>
            <a:endParaRPr lang="en-IN" sz="12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CF56385-AC51-48C1-9A50-66A4E789A840}"/>
              </a:ext>
            </a:extLst>
          </p:cNvPr>
          <p:cNvGrpSpPr/>
          <p:nvPr/>
        </p:nvGrpSpPr>
        <p:grpSpPr>
          <a:xfrm>
            <a:off x="0" y="6599941"/>
            <a:ext cx="12202755" cy="258059"/>
            <a:chOff x="0" y="4730620"/>
            <a:chExt cx="11504646" cy="27699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D9D98A6-2D1D-439B-930C-67AE14A94C9F}"/>
                </a:ext>
              </a:extLst>
            </p:cNvPr>
            <p:cNvSpPr/>
            <p:nvPr/>
          </p:nvSpPr>
          <p:spPr>
            <a:xfrm>
              <a:off x="0" y="4730620"/>
              <a:ext cx="3834882" cy="27699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850C193-C685-4372-9EF7-8E2672796485}"/>
                </a:ext>
              </a:extLst>
            </p:cNvPr>
            <p:cNvSpPr/>
            <p:nvPr/>
          </p:nvSpPr>
          <p:spPr>
            <a:xfrm>
              <a:off x="3834882" y="4730620"/>
              <a:ext cx="3834882" cy="27699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3F18149-BC97-4326-8360-442CFE28E7E1}"/>
                </a:ext>
              </a:extLst>
            </p:cNvPr>
            <p:cNvSpPr/>
            <p:nvPr/>
          </p:nvSpPr>
          <p:spPr>
            <a:xfrm>
              <a:off x="7669764" y="4730620"/>
              <a:ext cx="3834882" cy="27699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065768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91156BC-BA2B-4BCB-AE30-89296F2D8D21}"/>
              </a:ext>
            </a:extLst>
          </p:cNvPr>
          <p:cNvGrpSpPr/>
          <p:nvPr/>
        </p:nvGrpSpPr>
        <p:grpSpPr>
          <a:xfrm>
            <a:off x="0" y="-18661"/>
            <a:ext cx="12192000" cy="447286"/>
            <a:chOff x="0" y="3797032"/>
            <a:chExt cx="12192000" cy="40917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39424A6-E7B0-4662-B60C-3A723EBF24C3}"/>
                </a:ext>
              </a:extLst>
            </p:cNvPr>
            <p:cNvSpPr/>
            <p:nvPr/>
          </p:nvSpPr>
          <p:spPr>
            <a:xfrm>
              <a:off x="0" y="3937518"/>
              <a:ext cx="12192000" cy="13921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998C02E-3B64-4FAA-AA96-0589BAB5AEC7}"/>
                </a:ext>
              </a:extLst>
            </p:cNvPr>
            <p:cNvGrpSpPr/>
            <p:nvPr/>
          </p:nvGrpSpPr>
          <p:grpSpPr>
            <a:xfrm>
              <a:off x="0" y="3797032"/>
              <a:ext cx="12192000" cy="409179"/>
              <a:chOff x="0" y="3797032"/>
              <a:chExt cx="12192000" cy="40917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9CFF4AE-4943-4004-9AAD-196BC569AE13}"/>
                  </a:ext>
                </a:extLst>
              </p:cNvPr>
              <p:cNvSpPr/>
              <p:nvPr/>
            </p:nvSpPr>
            <p:spPr>
              <a:xfrm>
                <a:off x="0" y="3797032"/>
                <a:ext cx="12192000" cy="12901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C55A8BE-8B9C-4FAB-92D6-7E4D1A089EF6}"/>
                  </a:ext>
                </a:extLst>
              </p:cNvPr>
              <p:cNvSpPr/>
              <p:nvPr/>
            </p:nvSpPr>
            <p:spPr>
              <a:xfrm>
                <a:off x="0" y="4084219"/>
                <a:ext cx="12192000" cy="121992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E32DE72-4D38-4F28-B508-92890AF8F7C3}"/>
              </a:ext>
            </a:extLst>
          </p:cNvPr>
          <p:cNvSpPr/>
          <p:nvPr/>
        </p:nvSpPr>
        <p:spPr>
          <a:xfrm>
            <a:off x="-27856" y="6294251"/>
            <a:ext cx="1213587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ATIONAL CONFERENCE On "Ayurveda &amp; Tribal Healing for Respiratory Health: Bridging Ancient Wisdom with Modern Science</a:t>
            </a:r>
            <a:endParaRPr lang="en-IN" sz="12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CF56385-AC51-48C1-9A50-66A4E789A840}"/>
              </a:ext>
            </a:extLst>
          </p:cNvPr>
          <p:cNvGrpSpPr/>
          <p:nvPr/>
        </p:nvGrpSpPr>
        <p:grpSpPr>
          <a:xfrm>
            <a:off x="0" y="6599941"/>
            <a:ext cx="12202755" cy="258059"/>
            <a:chOff x="0" y="4730620"/>
            <a:chExt cx="11504646" cy="27699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D9D98A6-2D1D-439B-930C-67AE14A94C9F}"/>
                </a:ext>
              </a:extLst>
            </p:cNvPr>
            <p:cNvSpPr/>
            <p:nvPr/>
          </p:nvSpPr>
          <p:spPr>
            <a:xfrm>
              <a:off x="0" y="4730620"/>
              <a:ext cx="3834882" cy="27699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850C193-C685-4372-9EF7-8E2672796485}"/>
                </a:ext>
              </a:extLst>
            </p:cNvPr>
            <p:cNvSpPr/>
            <p:nvPr/>
          </p:nvSpPr>
          <p:spPr>
            <a:xfrm>
              <a:off x="3834882" y="4730620"/>
              <a:ext cx="3834882" cy="27699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3F18149-BC97-4326-8360-442CFE28E7E1}"/>
                </a:ext>
              </a:extLst>
            </p:cNvPr>
            <p:cNvSpPr/>
            <p:nvPr/>
          </p:nvSpPr>
          <p:spPr>
            <a:xfrm>
              <a:off x="7669764" y="4730620"/>
              <a:ext cx="3834882" cy="27699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41891861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91156BC-BA2B-4BCB-AE30-89296F2D8D21}"/>
              </a:ext>
            </a:extLst>
          </p:cNvPr>
          <p:cNvGrpSpPr/>
          <p:nvPr/>
        </p:nvGrpSpPr>
        <p:grpSpPr>
          <a:xfrm>
            <a:off x="0" y="-18661"/>
            <a:ext cx="12192000" cy="447286"/>
            <a:chOff x="0" y="3797032"/>
            <a:chExt cx="12192000" cy="40917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39424A6-E7B0-4662-B60C-3A723EBF24C3}"/>
                </a:ext>
              </a:extLst>
            </p:cNvPr>
            <p:cNvSpPr/>
            <p:nvPr/>
          </p:nvSpPr>
          <p:spPr>
            <a:xfrm>
              <a:off x="0" y="3937518"/>
              <a:ext cx="12192000" cy="13921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998C02E-3B64-4FAA-AA96-0589BAB5AEC7}"/>
                </a:ext>
              </a:extLst>
            </p:cNvPr>
            <p:cNvGrpSpPr/>
            <p:nvPr/>
          </p:nvGrpSpPr>
          <p:grpSpPr>
            <a:xfrm>
              <a:off x="0" y="3797032"/>
              <a:ext cx="12192000" cy="409179"/>
              <a:chOff x="0" y="3797032"/>
              <a:chExt cx="12192000" cy="40917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9CFF4AE-4943-4004-9AAD-196BC569AE13}"/>
                  </a:ext>
                </a:extLst>
              </p:cNvPr>
              <p:cNvSpPr/>
              <p:nvPr/>
            </p:nvSpPr>
            <p:spPr>
              <a:xfrm>
                <a:off x="0" y="3797032"/>
                <a:ext cx="12192000" cy="12901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C55A8BE-8B9C-4FAB-92D6-7E4D1A089EF6}"/>
                  </a:ext>
                </a:extLst>
              </p:cNvPr>
              <p:cNvSpPr/>
              <p:nvPr/>
            </p:nvSpPr>
            <p:spPr>
              <a:xfrm>
                <a:off x="0" y="4084219"/>
                <a:ext cx="12192000" cy="121992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E32DE72-4D38-4F28-B508-92890AF8F7C3}"/>
              </a:ext>
            </a:extLst>
          </p:cNvPr>
          <p:cNvSpPr/>
          <p:nvPr/>
        </p:nvSpPr>
        <p:spPr>
          <a:xfrm>
            <a:off x="-27856" y="6294251"/>
            <a:ext cx="1213587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ATIONAL CONFERENCE On "Ayurveda &amp; Tribal Healing for Respiratory Health: Bridging Ancient Wisdom with Modern Science</a:t>
            </a:r>
            <a:endParaRPr lang="en-IN" sz="12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CF56385-AC51-48C1-9A50-66A4E789A840}"/>
              </a:ext>
            </a:extLst>
          </p:cNvPr>
          <p:cNvGrpSpPr/>
          <p:nvPr/>
        </p:nvGrpSpPr>
        <p:grpSpPr>
          <a:xfrm>
            <a:off x="0" y="6599941"/>
            <a:ext cx="12202755" cy="258059"/>
            <a:chOff x="0" y="4730620"/>
            <a:chExt cx="11504646" cy="27699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D9D98A6-2D1D-439B-930C-67AE14A94C9F}"/>
                </a:ext>
              </a:extLst>
            </p:cNvPr>
            <p:cNvSpPr/>
            <p:nvPr/>
          </p:nvSpPr>
          <p:spPr>
            <a:xfrm>
              <a:off x="0" y="4730620"/>
              <a:ext cx="3834882" cy="27699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850C193-C685-4372-9EF7-8E2672796485}"/>
                </a:ext>
              </a:extLst>
            </p:cNvPr>
            <p:cNvSpPr/>
            <p:nvPr/>
          </p:nvSpPr>
          <p:spPr>
            <a:xfrm>
              <a:off x="3834882" y="4730620"/>
              <a:ext cx="3834882" cy="27699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3F18149-BC97-4326-8360-442CFE28E7E1}"/>
                </a:ext>
              </a:extLst>
            </p:cNvPr>
            <p:cNvSpPr/>
            <p:nvPr/>
          </p:nvSpPr>
          <p:spPr>
            <a:xfrm>
              <a:off x="7669764" y="4730620"/>
              <a:ext cx="3834882" cy="27699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22823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91156BC-BA2B-4BCB-AE30-89296F2D8D21}"/>
              </a:ext>
            </a:extLst>
          </p:cNvPr>
          <p:cNvGrpSpPr/>
          <p:nvPr/>
        </p:nvGrpSpPr>
        <p:grpSpPr>
          <a:xfrm>
            <a:off x="0" y="-18661"/>
            <a:ext cx="12192000" cy="447286"/>
            <a:chOff x="0" y="3797032"/>
            <a:chExt cx="12192000" cy="40917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39424A6-E7B0-4662-B60C-3A723EBF24C3}"/>
                </a:ext>
              </a:extLst>
            </p:cNvPr>
            <p:cNvSpPr/>
            <p:nvPr/>
          </p:nvSpPr>
          <p:spPr>
            <a:xfrm>
              <a:off x="0" y="3937518"/>
              <a:ext cx="12192000" cy="13921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998C02E-3B64-4FAA-AA96-0589BAB5AEC7}"/>
                </a:ext>
              </a:extLst>
            </p:cNvPr>
            <p:cNvGrpSpPr/>
            <p:nvPr/>
          </p:nvGrpSpPr>
          <p:grpSpPr>
            <a:xfrm>
              <a:off x="0" y="3797032"/>
              <a:ext cx="12192000" cy="409179"/>
              <a:chOff x="0" y="3797032"/>
              <a:chExt cx="12192000" cy="40917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9CFF4AE-4943-4004-9AAD-196BC569AE13}"/>
                  </a:ext>
                </a:extLst>
              </p:cNvPr>
              <p:cNvSpPr/>
              <p:nvPr/>
            </p:nvSpPr>
            <p:spPr>
              <a:xfrm>
                <a:off x="0" y="3797032"/>
                <a:ext cx="12192000" cy="12901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C55A8BE-8B9C-4FAB-92D6-7E4D1A089EF6}"/>
                  </a:ext>
                </a:extLst>
              </p:cNvPr>
              <p:cNvSpPr/>
              <p:nvPr/>
            </p:nvSpPr>
            <p:spPr>
              <a:xfrm>
                <a:off x="0" y="4084219"/>
                <a:ext cx="12192000" cy="121992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E32DE72-4D38-4F28-B508-92890AF8F7C3}"/>
              </a:ext>
            </a:extLst>
          </p:cNvPr>
          <p:cNvSpPr/>
          <p:nvPr/>
        </p:nvSpPr>
        <p:spPr>
          <a:xfrm>
            <a:off x="-27856" y="6294251"/>
            <a:ext cx="1213587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NATIONAL CONFERENCE On "Ayurveda &amp; Tribal Healing for Respiratory Health: Bridging Ancient Wisdom with Modern Science</a:t>
            </a:r>
            <a:endParaRPr lang="en-IN" sz="1200" b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CF56385-AC51-48C1-9A50-66A4E789A840}"/>
              </a:ext>
            </a:extLst>
          </p:cNvPr>
          <p:cNvGrpSpPr/>
          <p:nvPr/>
        </p:nvGrpSpPr>
        <p:grpSpPr>
          <a:xfrm>
            <a:off x="0" y="6599941"/>
            <a:ext cx="12202755" cy="258059"/>
            <a:chOff x="0" y="4730620"/>
            <a:chExt cx="11504646" cy="27699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D9D98A6-2D1D-439B-930C-67AE14A94C9F}"/>
                </a:ext>
              </a:extLst>
            </p:cNvPr>
            <p:cNvSpPr/>
            <p:nvPr/>
          </p:nvSpPr>
          <p:spPr>
            <a:xfrm>
              <a:off x="0" y="4730620"/>
              <a:ext cx="3834882" cy="27699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850C193-C685-4372-9EF7-8E2672796485}"/>
                </a:ext>
              </a:extLst>
            </p:cNvPr>
            <p:cNvSpPr/>
            <p:nvPr/>
          </p:nvSpPr>
          <p:spPr>
            <a:xfrm>
              <a:off x="3834882" y="4730620"/>
              <a:ext cx="3834882" cy="27699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3F18149-BC97-4326-8360-442CFE28E7E1}"/>
                </a:ext>
              </a:extLst>
            </p:cNvPr>
            <p:cNvSpPr/>
            <p:nvPr/>
          </p:nvSpPr>
          <p:spPr>
            <a:xfrm>
              <a:off x="7669764" y="4730620"/>
              <a:ext cx="3834882" cy="27699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24144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3</TotalTime>
  <Words>194</Words>
  <Application>Microsoft Office PowerPoint</Application>
  <PresentationFormat>Widescreen</PresentationFormat>
  <Paragraphs>1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Yu Gothic</vt:lpstr>
      <vt:lpstr>Arial</vt:lpstr>
      <vt:lpstr>Calibri</vt:lpstr>
      <vt:lpstr>Calibri Light</vt:lpstr>
      <vt:lpstr>Times New Roman</vt:lpstr>
      <vt:lpstr>Verdana</vt:lpstr>
      <vt:lpstr>Office Theme</vt:lpstr>
      <vt:lpstr>think-cell Slide</vt:lpstr>
      <vt:lpstr> TITLE- Font size 28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 Prashanth</dc:creator>
  <cp:lastModifiedBy>Girdhari Lal Gupta</cp:lastModifiedBy>
  <cp:revision>52</cp:revision>
  <dcterms:created xsi:type="dcterms:W3CDTF">2020-06-08T09:34:26Z</dcterms:created>
  <dcterms:modified xsi:type="dcterms:W3CDTF">2026-02-14T04:30:14Z</dcterms:modified>
</cp:coreProperties>
</file>